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412" r:id="rId5"/>
    <p:sldId id="1015" r:id="rId6"/>
    <p:sldId id="415" r:id="rId7"/>
    <p:sldId id="419" r:id="rId8"/>
    <p:sldId id="1016" r:id="rId9"/>
    <p:sldId id="417" r:id="rId10"/>
    <p:sldId id="420" r:id="rId11"/>
    <p:sldId id="421" r:id="rId12"/>
    <p:sldId id="422" r:id="rId13"/>
    <p:sldId id="423" r:id="rId14"/>
    <p:sldId id="418" r:id="rId15"/>
    <p:sldId id="424" r:id="rId16"/>
    <p:sldId id="425" r:id="rId17"/>
    <p:sldId id="426" r:id="rId18"/>
    <p:sldId id="427" r:id="rId19"/>
    <p:sldId id="429" r:id="rId20"/>
    <p:sldId id="428" r:id="rId21"/>
    <p:sldId id="430" r:id="rId22"/>
    <p:sldId id="431" r:id="rId23"/>
    <p:sldId id="359" r:id="rId24"/>
  </p:sldIdLst>
  <p:sldSz cx="9144000" cy="5184775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B9"/>
    <a:srgbClr val="6C6463"/>
    <a:srgbClr val="9F94D4"/>
    <a:srgbClr val="F3FCFF"/>
    <a:srgbClr val="F7FFFF"/>
    <a:srgbClr val="E5F8FF"/>
    <a:srgbClr val="00A3DD"/>
    <a:srgbClr val="CCFFFF"/>
    <a:srgbClr val="A7C6ED"/>
    <a:srgbClr val="33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1" autoAdjust="0"/>
    <p:restoredTop sz="83333" autoAdjust="0"/>
  </p:normalViewPr>
  <p:slideViewPr>
    <p:cSldViewPr snapToGrid="0" snapToObjects="1">
      <p:cViewPr varScale="1">
        <p:scale>
          <a:sx n="73" d="100"/>
          <a:sy n="73" d="100"/>
        </p:scale>
        <p:origin x="1276" y="52"/>
      </p:cViewPr>
      <p:guideLst>
        <p:guide orient="horz" pos="1633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1" d="100"/>
          <a:sy n="61" d="100"/>
        </p:scale>
        <p:origin x="274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4813" y="685800"/>
            <a:ext cx="60483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252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7058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2565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010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08997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270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083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18525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632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1465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569937"/>
            <a:ext cx="1371600" cy="410902"/>
          </a:xfrm>
          <a:prstGeom prst="rect">
            <a:avLst/>
          </a:prstGeom>
          <a:effectLst/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601787"/>
            <a:ext cx="3886200" cy="1209781"/>
          </a:xfrm>
          <a:effectLst/>
        </p:spPr>
        <p:txBody>
          <a:bodyPr anchor="b" anchorCtr="0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135206"/>
            <a:ext cx="3429000" cy="1209781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746760" y="2973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5432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1407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31923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358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53309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422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marR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230188" marR="0" lvl="0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684213" marR="0" lvl="1" indent="-23018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062974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845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076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51827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43000" y="534987"/>
            <a:ext cx="5486400" cy="461665"/>
          </a:xfrm>
        </p:spPr>
        <p:txBody>
          <a:bodyPr wrap="square" anchor="t" anchorCtr="0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805" y="4344987"/>
            <a:ext cx="1371600" cy="410902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746760" y="687387"/>
            <a:ext cx="32004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68523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153987"/>
            <a:ext cx="4419600" cy="4876799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3442713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4877104" y="2188567"/>
            <a:ext cx="3885896" cy="83766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8296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7772400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6042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38096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96987"/>
            <a:ext cx="38103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065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6104" y="1296987"/>
            <a:ext cx="2514296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0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524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2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844639"/>
            <a:ext cx="2895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8000" y="4844639"/>
            <a:ext cx="2133600" cy="18614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3314548" y="1296987"/>
            <a:ext cx="2514904" cy="3200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66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2400" y="2592387"/>
            <a:ext cx="8839200" cy="2440594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11430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44639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3" y="3537008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86104" y="679217"/>
            <a:ext cx="7772400" cy="46537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0141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4572000" y="153988"/>
            <a:ext cx="4419600" cy="48768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44639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85800" y="1677987"/>
            <a:ext cx="3657600" cy="2819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6C6463"/>
                </a:solidFill>
              </a:defRPr>
            </a:lvl1pPr>
            <a:lvl2pPr>
              <a:defRPr sz="16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7862312" y="1098609"/>
            <a:ext cx="207391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678715"/>
            <a:ext cx="3657600" cy="83099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0114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81E93C1-70E2-44FB-BEAE-301DC7B38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803734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1"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8139BC9-D8D8-430F-9E11-0EAC7B250C2E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64207"/>
            <a:ext cx="2895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8000" y="4864207"/>
            <a:ext cx="2133600" cy="186148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ame 13"/>
          <p:cNvSpPr/>
          <p:nvPr/>
        </p:nvSpPr>
        <p:spPr>
          <a:xfrm>
            <a:off x="0" y="0"/>
            <a:ext cx="9144000" cy="5189384"/>
          </a:xfrm>
          <a:prstGeom prst="frame">
            <a:avLst>
              <a:gd name="adj1" fmla="val 2963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709" r:id="rId5"/>
    <p:sldLayoutId id="2147483758" r:id="rId6"/>
    <p:sldLayoutId id="2147483710" r:id="rId7"/>
    <p:sldLayoutId id="2147483711" r:id="rId8"/>
    <p:sldLayoutId id="2147483712" r:id="rId9"/>
    <p:sldLayoutId id="2147483714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96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•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800"/>
        </a:spcAft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3ED478-B32B-4C6D-B975-6C0CD2B8C2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294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November 20, 2019</a:t>
            </a: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dirty="0"/>
              <a:t>Advanced Auction Design Elements</a:t>
            </a:r>
          </a:p>
        </p:txBody>
      </p:sp>
    </p:spTree>
    <p:extLst>
      <p:ext uri="{BB962C8B-B14F-4D97-AF65-F5344CB8AC3E}">
        <p14:creationId xmlns:p14="http://schemas.microsoft.com/office/powerpoint/2010/main" val="38589327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457BED-E1B9-46AC-9C48-8133F401EC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82ECD4-0F72-4E4C-B678-B40C16AF06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3AA417D-CA25-4D38-B0E7-B9CBB2A281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668278"/>
              </p:ext>
            </p:extLst>
          </p:nvPr>
        </p:nvGraphicFramePr>
        <p:xfrm>
          <a:off x="756828" y="2256114"/>
          <a:ext cx="7929971" cy="26359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63545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6966426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534053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Challen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0" noProof="0">
                          <a:solidFill>
                            <a:srgbClr val="635C5B"/>
                          </a:solidFill>
                        </a:rPr>
                        <a:t>Integrating smaller intermittent RE to provide balancing energy products to the balancing market. </a:t>
                      </a:r>
                      <a:endParaRPr lang="en-IN" sz="1500" b="0" noProof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1201620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Design Solu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500" b="0" noProof="0">
                          <a:solidFill>
                            <a:srgbClr val="635C5B"/>
                          </a:solidFill>
                        </a:rPr>
                        <a:t>Digitally aggregating multiple decentralized RE of different producers into a single centralized control syste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IN" sz="1500" b="0" noProof="0">
                          <a:solidFill>
                            <a:srgbClr val="635C5B"/>
                          </a:solidFill>
                        </a:rPr>
                        <a:t>Different generation technologies (PV, wind, hydro, biogas etc.) are bundled to offset intermittency risks. </a:t>
                      </a:r>
                      <a:r>
                        <a:rPr lang="en-US" sz="1500" b="0" kern="1200" noProof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This </a:t>
                      </a:r>
                      <a:r>
                        <a:rPr lang="en-US" sz="1500" b="0" kern="120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allows them to be forecasted, optimized and traded as one single power plant. </a:t>
                      </a:r>
                      <a:endParaRPr lang="en-IN" sz="1500" b="0" kern="1200" noProof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  <a:tr h="852852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Resul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DE" sz="1500" b="0" noProof="0" dirty="0">
                          <a:solidFill>
                            <a:srgbClr val="635C5B"/>
                          </a:solidFill>
                        </a:rPr>
                        <a:t>2016: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Provision of 67 MW as primary reserve, 67 MW as secondary reserve, and 1160 MW as tertiary reserve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This reduces provision of these products by thermal generation</a:t>
                      </a: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542588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FDA98FE-110A-40FA-AD75-B4B2C00CD5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36"/>
          <a:stretch/>
        </p:blipFill>
        <p:spPr>
          <a:xfrm>
            <a:off x="7686077" y="1067598"/>
            <a:ext cx="848323" cy="525711"/>
          </a:xfrm>
          <a:prstGeom prst="rect">
            <a:avLst/>
          </a:prstGeom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2A0A30CF-9F05-4CED-B8E4-FB6DE34D01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139037"/>
            <a:ext cx="6781800" cy="97833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Country experience:  </a:t>
            </a:r>
            <a:br>
              <a:rPr lang="en-US" dirty="0"/>
            </a:br>
            <a:r>
              <a:rPr lang="en-US" dirty="0"/>
              <a:t>Virtual power plant (VPP)  “</a:t>
            </a:r>
            <a:r>
              <a:rPr lang="en-US" dirty="0" err="1"/>
              <a:t>NextKraftwerke</a:t>
            </a:r>
            <a:r>
              <a:rPr lang="en-US" dirty="0"/>
              <a:t>” in Germany</a:t>
            </a:r>
          </a:p>
          <a:p>
            <a:pPr marL="0" indent="0">
              <a:buNone/>
            </a:pPr>
            <a:r>
              <a:rPr lang="en-US" b="1" dirty="0">
                <a:solidFill>
                  <a:srgbClr val="C00000"/>
                </a:solidFill>
              </a:rPr>
              <a:t>This policy enables the German virtual power plant to provide reliable, dispatchable power for balancing just with RE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6CEA24-048F-4073-9619-753D86B2E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2:  Aggregators (virtual hybrids) (2/3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3B2B8D-3115-4C98-A10C-38BC8C68C80D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363967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E431B8-DC82-44E9-9DEE-9EF32BC4B7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F41BDE-2625-4287-BF16-1949878928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31FB296-8F92-46AB-95BF-9D0A36E4BD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04929"/>
              </p:ext>
            </p:extLst>
          </p:nvPr>
        </p:nvGraphicFramePr>
        <p:xfrm>
          <a:off x="685800" y="1471197"/>
          <a:ext cx="7772400" cy="29789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3380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4038600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275198"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Advantag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Disadvant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26589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Possibility to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sign shorter contracts with DISCOMs/institutional buyers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, resulting in prices better adapting to changing demand needs and RE market prices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Enabling compliance with </a:t>
                      </a: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time-specific generation requirements or balancing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1" noProof="0" dirty="0">
                          <a:solidFill>
                            <a:schemeClr val="accent3"/>
                          </a:solidFill>
                        </a:rPr>
                        <a:t>Business case (e.g. to provide balancing services) is weak: 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So far, no dedicated ancillary market for private players in India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If virtual hybrids </a:t>
                      </a:r>
                      <a:r>
                        <a:rPr lang="en-US" sz="1500" b="1" noProof="0" dirty="0">
                          <a:solidFill>
                            <a:schemeClr val="accent3"/>
                          </a:solidFill>
                        </a:rPr>
                        <a:t>portfolio is composed of mainly shorter contracts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, cost-covering bids from virtual hybrids will likely not be successful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de-DE" sz="1500" b="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Compared to physical hybrids, virtual hybrids </a:t>
                      </a:r>
                      <a:r>
                        <a:rPr lang="en-US" sz="1500" b="1" noProof="0" dirty="0">
                          <a:solidFill>
                            <a:schemeClr val="accent3"/>
                          </a:solidFill>
                        </a:rPr>
                        <a:t>do not lead to lower grid connection costs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per each RE asset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8DB9829-0F0A-4104-BD05-6F473CC438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2:  Aggregators (virtual hybrids) (3/3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EAB406-FDC5-49D6-BBF8-6C097FA14345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42046796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CAE881-F09B-423D-8EBF-C1408996B1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E5A387-1D48-42B4-B070-2D971A5264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42" name="Picture 41" descr="This figure depicts a substation system installation that combines wind and solar for electricity generation to offset technology-specific intermittencies and reduce grid connection costs.">
            <a:extLst>
              <a:ext uri="{FF2B5EF4-FFF2-40B4-BE49-F238E27FC236}">
                <a16:creationId xmlns:a16="http://schemas.microsoft.com/office/drawing/2014/main" id="{F40DE2BD-B99E-4FBD-8F46-007FE7F79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1175" y="2364954"/>
            <a:ext cx="5962650" cy="2317040"/>
          </a:xfrm>
          <a:prstGeom prst="rect">
            <a:avLst/>
          </a:prstGeom>
        </p:spPr>
      </p:pic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D6D7135A-B53C-40DF-ADB3-B1695C6F7D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841779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sz="1400" dirty="0">
                <a:solidFill>
                  <a:srgbClr val="635C5B"/>
                </a:solidFill>
                <a:cs typeface="+mn-cs"/>
              </a:rPr>
              <a:t>Competitive procurement of RE electricity from installations combining technologies such as wind, solar, storage or dispatchable technologies with the aim of combining complementary generation profiles to </a:t>
            </a:r>
            <a:r>
              <a:rPr lang="en-US" sz="1400" b="1" dirty="0">
                <a:solidFill>
                  <a:schemeClr val="accent3"/>
                </a:solidFill>
                <a:cs typeface="+mn-cs"/>
              </a:rPr>
              <a:t>offset technology-specific intermittencies and to reduce grid connection costs</a:t>
            </a:r>
            <a:r>
              <a:rPr lang="en-US" sz="1400" dirty="0">
                <a:solidFill>
                  <a:srgbClr val="635C5B"/>
                </a:solidFill>
                <a:cs typeface="+mn-cs"/>
              </a:rPr>
              <a:t>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9F37417-B5B2-4003-9C95-26E4172C2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3: Procurement of (physical) hybrids (1/3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64FB98-60F2-4993-8721-F4E7E012E38A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5925551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3FC0AB-C124-4473-9DFC-26D554E2CC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E08EDD-2B5D-4A8B-906B-90C123C937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230AE6E7-DC40-4C1D-965B-6568F50D64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496874"/>
              </p:ext>
            </p:extLst>
          </p:nvPr>
        </p:nvGraphicFramePr>
        <p:xfrm>
          <a:off x="686102" y="2126449"/>
          <a:ext cx="7934022" cy="26791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0237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6803785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535240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Challen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500" b="0" noProof="0">
                          <a:solidFill>
                            <a:srgbClr val="635C5B"/>
                          </a:solidFill>
                        </a:rPr>
                        <a:t>Ensure a continuous supply of electricity even during peak hours, reduce intermittency of RE generatio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948585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Design Solu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Peak: 100% contracted capacity, ± 2% tolerance range (Mon.-Fri., 9:00am-11pm)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Off-peak: 65% of contracted capacity, ± 2% tolerance range (at all other times)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Penalty: 20% of fixed tariff (FIT</a:t>
                      </a:r>
                      <a:r>
                        <a:rPr lang="en-IN" sz="1500" b="0" baseline="-25000" noProof="0" dirty="0">
                          <a:solidFill>
                            <a:srgbClr val="635C5B"/>
                          </a:solidFill>
                        </a:rPr>
                        <a:t>f</a:t>
                      </a:r>
                      <a:r>
                        <a:rPr lang="en-IN" sz="1500" b="0" baseline="0" noProof="0" dirty="0">
                          <a:solidFill>
                            <a:srgbClr val="635C5B"/>
                          </a:solidFill>
                        </a:rPr>
                        <a:t>)</a:t>
                      </a: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 component (FIT </a:t>
                      </a:r>
                      <a:r>
                        <a:rPr lang="de-DE" sz="1500" b="0" noProof="0" dirty="0">
                          <a:solidFill>
                            <a:srgbClr val="635C5B"/>
                          </a:solidFill>
                        </a:rPr>
                        <a:t>= FIT</a:t>
                      </a:r>
                      <a:r>
                        <a:rPr lang="de-DE" sz="1500" b="0" baseline="-25000" noProof="0" dirty="0">
                          <a:solidFill>
                            <a:srgbClr val="635C5B"/>
                          </a:solidFill>
                        </a:rPr>
                        <a:t>f</a:t>
                      </a:r>
                      <a:r>
                        <a:rPr lang="de-DE" sz="1500" b="0" noProof="0" dirty="0">
                          <a:solidFill>
                            <a:srgbClr val="635C5B"/>
                          </a:solidFill>
                        </a:rPr>
                        <a:t> + FIT</a:t>
                      </a:r>
                      <a:r>
                        <a:rPr lang="de-DE" sz="1500" b="0" baseline="-25000" noProof="0" dirty="0">
                          <a:solidFill>
                            <a:srgbClr val="635C5B"/>
                          </a:solidFill>
                        </a:rPr>
                        <a:t>v</a:t>
                      </a:r>
                      <a:r>
                        <a:rPr lang="de-DE" sz="1500" b="0" baseline="0" noProof="0" dirty="0">
                          <a:solidFill>
                            <a:srgbClr val="635C5B"/>
                          </a:solidFill>
                        </a:rPr>
                        <a:t>)</a:t>
                      </a:r>
                      <a:endParaRPr lang="en-IN" sz="1500" b="0" baseline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  <a:tr h="1181888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Resul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Volume offered: 755 MW (of technically qualified bids) against 300 MW demanded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Average bid price: 7.39 cents/kWh against a ceiling price of 11.09 cents/kWh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Technology: predominantly biomass with 258.7 MW, biomass-solar with 29.31 MW, solar + storage with 12 MW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542588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C0FF419-F253-492F-BFD8-B9DC291FBE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1123" y="1140776"/>
            <a:ext cx="845966" cy="492041"/>
          </a:xfrm>
          <a:prstGeom prst="rect">
            <a:avLst/>
          </a:prstGeom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4A3BD2A6-42D0-44B9-A9C0-6EEA4DEFB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525" y="1180946"/>
            <a:ext cx="7408333" cy="90374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/>
              <a:t>Country experience: </a:t>
            </a:r>
            <a:br>
              <a:rPr lang="en-US" sz="1400" b="1" dirty="0"/>
            </a:br>
            <a:r>
              <a:rPr lang="en-US" sz="1400" dirty="0"/>
              <a:t>Hybrid procurement for firm energy in Thailand</a:t>
            </a:r>
          </a:p>
          <a:p>
            <a:pPr marL="0" indent="0">
              <a:buNone/>
            </a:pPr>
            <a:r>
              <a:rPr lang="en-US" sz="1400" b="1" dirty="0">
                <a:solidFill>
                  <a:srgbClr val="C00000"/>
                </a:solidFill>
              </a:rPr>
              <a:t>Policy enabled Thailand to purchase dispatchable RE w/ guaranteed evening generation</a:t>
            </a:r>
            <a:r>
              <a:rPr lang="en-US" b="1" dirty="0">
                <a:solidFill>
                  <a:srgbClr val="C00000"/>
                </a:solidFill>
              </a:rPr>
              <a:t>.</a:t>
            </a:r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C83EEE8-8F59-4163-A4A9-49FC326C0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</a:t>
            </a:r>
            <a:r>
              <a:rPr lang="en-US" dirty="0">
                <a:solidFill>
                  <a:srgbClr val="0070C0"/>
                </a:solidFill>
              </a:rPr>
              <a:t>trend 3: Procurement of (physical) hybrids (2/3)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25ECB6-C030-4CE2-8195-56376207D5C6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657432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CBF4EA-B74B-4A3A-A37F-D2CF45E782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64E75C-05E6-447D-93C2-857057530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D422F3B-CB4D-4007-8A67-1C98B2D706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688912"/>
              </p:ext>
            </p:extLst>
          </p:nvPr>
        </p:nvGraphicFramePr>
        <p:xfrm>
          <a:off x="686104" y="1199502"/>
          <a:ext cx="7814660" cy="36681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64127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3750533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376276"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Advantag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Disadvant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60509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More </a:t>
                      </a: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efficient use of land and grid infrastructure </a:t>
                      </a: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and higher CUF compared to single-technology plant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Savings on grid connection and transmission cost</a:t>
                      </a: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, since time-of-day generation patterns of wind and solar can be complimentary (Note: connection charges to Indian ISTS are high and waivers for RE expire in 2019)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noProof="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More balanced power mix for sale, </a:t>
                      </a: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given the lower peak-to-average power for the same hour throughout the year than for single-technology wind- or solar plants.</a:t>
                      </a:r>
                      <a:endParaRPr lang="de-DE" sz="1500" b="0" kern="1200" noProof="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noProof="0" dirty="0">
                        <a:solidFill>
                          <a:srgbClr val="0070C0"/>
                        </a:solidFill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noProof="0" dirty="0">
                          <a:solidFill>
                            <a:schemeClr val="accent3"/>
                          </a:solidFill>
                        </a:rPr>
                        <a:t>Correct parametrization of design elements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 for competitive procurement is more complex than in single-technology procurement (e.g. due to varying project development durations for solar &amp; wind)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Higher prices for hybrid procurement compared to single-technologies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as grid cost savings in hybrids are not yet reflected in bids submitted by bidders.</a:t>
                      </a: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28FD142-5C7F-4DB4-BD7E-8D109D533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3: </a:t>
            </a:r>
            <a:r>
              <a:rPr lang="en-US" dirty="0">
                <a:solidFill>
                  <a:srgbClr val="0070C0"/>
                </a:solidFill>
              </a:rPr>
              <a:t>Procurement of (physical) hybrids (3/3)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A3CC494-9117-409F-8441-A24E07D8C87B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9026057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9CA4FA-E63D-4DA0-8895-5F1B65BC1C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3E6CAD-D7B2-432B-B6F5-FAC453F13C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14" name="Picture 13" descr="This figure depicts the ways in which locational signals aim to steer projects to various sites.">
            <a:extLst>
              <a:ext uri="{FF2B5EF4-FFF2-40B4-BE49-F238E27FC236}">
                <a16:creationId xmlns:a16="http://schemas.microsoft.com/office/drawing/2014/main" id="{6B154396-15C3-4BC7-992F-B6772DF85E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2090229"/>
            <a:ext cx="6771841" cy="2710656"/>
          </a:xfrm>
          <a:prstGeom prst="rect">
            <a:avLst/>
          </a:prstGeom>
        </p:spPr>
      </p:pic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1F21693E-98F0-4AE8-AA72-047169CFB0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671298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sz="1400" dirty="0">
                <a:solidFill>
                  <a:srgbClr val="635C5B"/>
                </a:solidFill>
                <a:cs typeface="+mn-cs"/>
              </a:rPr>
              <a:t>Locational signals aim to steer the location of projects to specific areas/grid connection points to </a:t>
            </a:r>
            <a:r>
              <a:rPr lang="en-US" sz="1400" b="1" dirty="0">
                <a:solidFill>
                  <a:schemeClr val="accent3"/>
                </a:solidFill>
                <a:cs typeface="+mn-cs"/>
              </a:rPr>
              <a:t>avoid the concentration of projects in resource-rich but costly-to-connect areas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4F52D-263F-4716-98C9-CA6BB420F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4: Locational signals (1/5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32234B-4B44-43C5-8869-DEFACCB2F297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8335772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99CA4FA-E63D-4DA0-8895-5F1B65BC1C8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3E6CAD-D7B2-432B-B6F5-FAC453F13C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4F52D-263F-4716-98C9-CA6BB420F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4: Locational signals (2/5)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3440DAA-1796-4804-A109-9251B3FC3C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624803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sz="1400" dirty="0">
                <a:solidFill>
                  <a:srgbClr val="635C5B"/>
                </a:solidFill>
                <a:cs typeface="+mn-cs"/>
              </a:rPr>
              <a:t>Locational signals aim to steer the location of projects to specific areas/grid connection points to </a:t>
            </a:r>
            <a:r>
              <a:rPr lang="en-US" sz="1400" b="1" dirty="0">
                <a:solidFill>
                  <a:schemeClr val="accent3"/>
                </a:solidFill>
                <a:cs typeface="+mn-cs"/>
              </a:rPr>
              <a:t>avoid the concentration of projects in resource-rich but costly-to-connect areas.</a:t>
            </a:r>
          </a:p>
        </p:txBody>
      </p:sp>
      <p:pic>
        <p:nvPicPr>
          <p:cNvPr id="6" name="Picture 5" descr="This figure depicts the ways in which locational signals aim to steer projects to various sites.">
            <a:extLst>
              <a:ext uri="{FF2B5EF4-FFF2-40B4-BE49-F238E27FC236}">
                <a16:creationId xmlns:a16="http://schemas.microsoft.com/office/drawing/2014/main" id="{FD7412A5-0B60-472C-9813-E23F088CD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8245" y="2084263"/>
            <a:ext cx="6637815" cy="29376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FA93ECE-EEF6-479C-9B40-5C6F9610E0F1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000056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88AB0-6016-401C-A018-7945EAE559A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D6EE66-FD98-4BC5-9FEA-16E19B7BA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23" name="Picture 22" descr="This figure depicts the incorporation of locational steering in procurement design from no locational signals through hard locational signals.">
            <a:extLst>
              <a:ext uri="{FF2B5EF4-FFF2-40B4-BE49-F238E27FC236}">
                <a16:creationId xmlns:a16="http://schemas.microsoft.com/office/drawing/2014/main" id="{DAE60299-7AF1-4C22-B534-0073488F64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3881" y="1693651"/>
            <a:ext cx="7754623" cy="3150988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0E922C-BEBC-4128-832A-6DE4F75017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46166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corporating locational steering in procurement desig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761B15F-B798-4D4A-A6DD-9CB9BDBAB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4: Locational signals (3/5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9E5E51-3DC2-4514-A94B-55FDB6B173F9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21751991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069FCD-7B22-4D41-BA86-F7CB86540F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9E1DEE-1DF1-4510-A37D-CB382B9C3B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8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D91EB0E-0D3D-4539-851A-0BB09F5B16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9663374"/>
              </p:ext>
            </p:extLst>
          </p:nvPr>
        </p:nvGraphicFramePr>
        <p:xfrm>
          <a:off x="686104" y="2043805"/>
          <a:ext cx="7953103" cy="2941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14121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6838982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522435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Challen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IN" sz="1500" b="0" noProof="0">
                          <a:solidFill>
                            <a:srgbClr val="635C5B"/>
                          </a:solidFill>
                        </a:rPr>
                        <a:t>Limiting new transmission costs from auctioned installations and ensure that the system can absorb additional generation capacity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1030359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Design Solu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Set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capacity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limits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 at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mutiple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nodes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 in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the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 </a:t>
                      </a:r>
                      <a:r>
                        <a:rPr lang="de-DE" sz="1500" b="0" noProof="0" err="1">
                          <a:solidFill>
                            <a:srgbClr val="635C5B"/>
                          </a:solidFill>
                        </a:rPr>
                        <a:t>grid</a:t>
                      </a: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.</a:t>
                      </a:r>
                      <a:r>
                        <a:rPr lang="en-US" sz="1500" b="0" noProof="0">
                          <a:solidFill>
                            <a:srgbClr val="635C5B"/>
                          </a:solidFill>
                        </a:rPr>
                        <a:t> Maximum capacity and number of possible grid connection points are communicated to bidders before the auction.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DE" sz="1500" b="0" noProof="0">
                          <a:solidFill>
                            <a:srgbClr val="635C5B"/>
                          </a:solidFill>
                        </a:rPr>
                        <a:t>I</a:t>
                      </a:r>
                      <a:r>
                        <a:rPr lang="en-US" sz="1500" b="0" noProof="0">
                          <a:solidFill>
                            <a:srgbClr val="635C5B"/>
                          </a:solidFill>
                        </a:rPr>
                        <a:t>f bids for a node exceed the capacity limit, bids will be excluded in descending order of bid price until capacity limit is reached. </a:t>
                      </a:r>
                      <a:endParaRPr lang="en-IN" sz="1500" b="0" noProof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  <a:tr h="1248040">
                <a:tc>
                  <a:txBody>
                    <a:bodyPr/>
                    <a:lstStyle/>
                    <a:p>
                      <a:r>
                        <a:rPr lang="en-IN" sz="1500" b="0" noProof="0" dirty="0">
                          <a:solidFill>
                            <a:schemeClr val="bg1"/>
                          </a:solidFill>
                        </a:rPr>
                        <a:t>Resul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IN" sz="1500" b="0" noProof="0" dirty="0">
                          <a:solidFill>
                            <a:srgbClr val="635C5B"/>
                          </a:solidFill>
                        </a:rPr>
                        <a:t>857.9 MW of RE projects at nodes with sufficient grid capacities contracted. But: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7 rounds cancelled due to undersubscription.</a:t>
                      </a: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Awarded technologies: wind (500.9 MW), solar (270 MW), hydro (82.1 MW), biogas (5 MW).  Lowest awarded bids: hydro (3.5 cents/kWh), wind (4.7 cents/kWh), and solar (4.9/kWh).</a:t>
                      </a: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109170"/>
                  </a:ext>
                </a:extLst>
              </a:tr>
            </a:tbl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8FDE22B8-187E-4AAA-B800-38662CA73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08" y="894754"/>
            <a:ext cx="1087828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BD0281A2-AA16-42CC-B3DB-9E8065B19C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137" y="1144587"/>
            <a:ext cx="7772400" cy="4572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/>
              <a:t>Country experience: </a:t>
            </a:r>
            <a:r>
              <a:rPr lang="en-US" sz="1400" dirty="0"/>
              <a:t>Capacity Quotas in Kazakhstan</a:t>
            </a:r>
          </a:p>
          <a:p>
            <a:pPr marL="0" indent="0">
              <a:buNone/>
            </a:pPr>
            <a:r>
              <a:rPr lang="en-US" sz="1400" b="1" dirty="0">
                <a:solidFill>
                  <a:srgbClr val="C00000"/>
                </a:solidFill>
              </a:rPr>
              <a:t>This policy enables Kazakhstan to limit grid expansion needs to the </a:t>
            </a:r>
            <a:br>
              <a:rPr lang="en-US" sz="1400" b="1" dirty="0">
                <a:solidFill>
                  <a:srgbClr val="C00000"/>
                </a:solidFill>
              </a:rPr>
            </a:br>
            <a:r>
              <a:rPr lang="en-US" sz="1400" b="1" dirty="0">
                <a:solidFill>
                  <a:srgbClr val="C00000"/>
                </a:solidFill>
              </a:rPr>
              <a:t>minimum by using only already existing substations for its RE.</a:t>
            </a:r>
          </a:p>
          <a:p>
            <a:pPr marL="0" indent="0">
              <a:buNone/>
            </a:pPr>
            <a:endParaRPr lang="en-IN" sz="14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BF982C-5AB3-4FFC-9328-D0D61D545F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4: Locational signals (4/5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6D3E2C-1321-4469-802A-4A752CB0EA1D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254045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D3A026-6F86-4D1C-8DEE-592FA89592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B153F1-853D-4532-B8C7-E1E866DBBA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2BD30E2-4545-4979-B925-5BF20644F0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7926869"/>
              </p:ext>
            </p:extLst>
          </p:nvPr>
        </p:nvGraphicFramePr>
        <p:xfrm>
          <a:off x="754128" y="1458793"/>
          <a:ext cx="7772400" cy="2468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74477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3897923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300547"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Advantage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Disadvant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2034472">
                <a:tc>
                  <a:txBody>
                    <a:bodyPr/>
                    <a:lstStyle/>
                    <a:p>
                      <a:pPr lvl="0"/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Reduce total system costs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by identifying an optimal trade-off between required grid extensions/ reinforcements and RE generation costs.</a:t>
                      </a:r>
                    </a:p>
                    <a:p>
                      <a:pPr lvl="0"/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Potential in allowing a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faster deployment. </a:t>
                      </a:r>
                    </a:p>
                    <a:p>
                      <a:pPr lvl="0"/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Reduce the need for short-term grid extension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Procured prices might be higher</a:t>
                      </a:r>
                      <a:r>
                        <a:rPr lang="en-US" sz="1500" b="0" kern="1200" dirty="0">
                          <a:solidFill>
                            <a:schemeClr val="accent6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when locational signals are applied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Effectiveness of location-specific and capacity quotas strongly depends on the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capacity of state planning.</a:t>
                      </a:r>
                      <a:endParaRPr lang="en-US" sz="1500" b="1" kern="1200" noProof="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IN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ADF932B-1BBB-4236-9444-D547BF4311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4: Locational signals (5/5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093DCE-7BBC-41C1-BE6B-ADBF0B27D969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10007389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49C05-927F-3348-96DF-9086CF2761D6}" type="datetime1">
              <a:rPr lang="en-US" smtClean="0"/>
              <a:t>7/2/2020</a:t>
            </a:fld>
            <a:endParaRPr lang="en-US"/>
          </a:p>
        </p:txBody>
      </p:sp>
      <p:sp>
        <p:nvSpPr>
          <p:cNvPr id="5" name="Slide Number Placeholder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685800" y="1296987"/>
            <a:ext cx="7772400" cy="3200400"/>
          </a:xfrm>
          <a:prstGeom prst="rect">
            <a:avLst/>
          </a:prstGeom>
        </p:spPr>
        <p:txBody>
          <a:bodyPr/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Relevance of RE system-friendly procurement</a:t>
            </a:r>
          </a:p>
          <a:p>
            <a:r>
              <a:rPr lang="en-US" dirty="0">
                <a:solidFill>
                  <a:schemeClr val="bg1"/>
                </a:solidFill>
              </a:rPr>
              <a:t>Global trends in RE system-friendly procurement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Time-based incentives and penaltie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Aggregators (virtual hybrids)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Procurement of (physical) hybrid solutions</a:t>
            </a:r>
          </a:p>
          <a:p>
            <a:pPr lvl="1"/>
            <a:r>
              <a:rPr lang="en-US" dirty="0">
                <a:solidFill>
                  <a:schemeClr val="bg1"/>
                </a:solidFill>
              </a:rPr>
              <a:t>Locational signals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pPr lvl="1"/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736237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6104" y="682922"/>
            <a:ext cx="7772400" cy="461665"/>
          </a:xfrm>
        </p:spPr>
        <p:txBody>
          <a:bodyPr/>
          <a:lstStyle/>
          <a:p>
            <a:pPr algn="ctr"/>
            <a:r>
              <a:rPr lang="en-US" dirty="0"/>
              <a:t>Thank you!	</a:t>
            </a:r>
          </a:p>
        </p:txBody>
      </p:sp>
    </p:spTree>
    <p:extLst>
      <p:ext uri="{BB962C8B-B14F-4D97-AF65-F5344CB8AC3E}">
        <p14:creationId xmlns:p14="http://schemas.microsoft.com/office/powerpoint/2010/main" val="36436979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300A2-FBAC-4B9D-9171-45BF48E48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533385-F56B-4B8D-B4F9-AF0D2C569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F45DBEE9-8620-4FB3-BA13-8FF6B71C02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104" y="3665649"/>
            <a:ext cx="7591425" cy="1065793"/>
          </a:xfrm>
          <a:ln>
            <a:solidFill>
              <a:schemeClr val="accent1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System-friendly RE procurement </a:t>
            </a:r>
            <a:r>
              <a:rPr lang="en-US" dirty="0">
                <a:solidFill>
                  <a:schemeClr val="accent6"/>
                </a:solidFill>
              </a:rPr>
              <a:t>considers both cost types in award decision</a:t>
            </a:r>
            <a:r>
              <a:rPr lang="en-US" dirty="0"/>
              <a:t>, i.e.</a:t>
            </a:r>
          </a:p>
          <a:p>
            <a:r>
              <a:rPr lang="en-US" dirty="0"/>
              <a:t>falling generation costs of RE, and </a:t>
            </a:r>
          </a:p>
          <a:p>
            <a:r>
              <a:rPr lang="en-US" dirty="0"/>
              <a:t>the system costs and benefits of R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8224F32-3E6E-471D-8D62-6818FC41A643}"/>
              </a:ext>
            </a:extLst>
          </p:cNvPr>
          <p:cNvSpPr txBox="1">
            <a:spLocks/>
          </p:cNvSpPr>
          <p:nvPr/>
        </p:nvSpPr>
        <p:spPr>
          <a:xfrm>
            <a:off x="158750" y="1135374"/>
            <a:ext cx="5451566" cy="3777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IN" sz="1600" b="1" dirty="0"/>
              <a:t>Generation costs ≠ system integration cost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11865D-6505-40BA-B556-E15C352A8B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System-friendly RE procurement minimizes both generation and system integration cos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6613A9-DA4B-4744-B406-BECC61791A3F}"/>
              </a:ext>
            </a:extLst>
          </p:cNvPr>
          <p:cNvSpPr txBox="1"/>
          <p:nvPr/>
        </p:nvSpPr>
        <p:spPr>
          <a:xfrm>
            <a:off x="6857999" y="162840"/>
            <a:ext cx="213360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Relevance of RE system-friendly procurement</a:t>
            </a: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CE934A2F-CB53-4B64-86B7-1ECE955CC2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803412"/>
              </p:ext>
            </p:extLst>
          </p:nvPr>
        </p:nvGraphicFramePr>
        <p:xfrm>
          <a:off x="761999" y="1523382"/>
          <a:ext cx="6096000" cy="1920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92481">
                  <a:extLst>
                    <a:ext uri="{9D8B030D-6E8A-4147-A177-3AD203B41FA5}">
                      <a16:colId xmlns:a16="http://schemas.microsoft.com/office/drawing/2014/main" val="1003286838"/>
                    </a:ext>
                  </a:extLst>
                </a:gridCol>
                <a:gridCol w="5303519">
                  <a:extLst>
                    <a:ext uri="{9D8B030D-6E8A-4147-A177-3AD203B41FA5}">
                      <a16:colId xmlns:a16="http://schemas.microsoft.com/office/drawing/2014/main" val="2682970222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vestment and operational cos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982656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st of capital (debt, equity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404739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=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lectricity generation cos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13472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id expansion and upgrade cos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963227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alancing costs (including redispatch costs)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680039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vision of reserv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70845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=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650"/>
                        </a:lnSpc>
                        <a:spcBef>
                          <a:spcPts val="4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635C5B"/>
                          </a:solidFill>
                          <a:effectLst/>
                          <a:latin typeface="Gill Sans MT" panose="020B0502020104020203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ystem integration costs of RE gener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9060" marR="99060" marT="32385" marB="3238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05214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106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14663D-726A-4EEC-8EB9-2053BA71BD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91286E-7745-4185-951B-959935BAF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780A08-27A5-4673-8E94-F945394BD1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3547652"/>
          </a:xfrm>
        </p:spPr>
        <p:txBody>
          <a:bodyPr>
            <a:normAutofit fontScale="92500" lnSpcReduction="20000"/>
          </a:bodyPr>
          <a:lstStyle/>
          <a:p>
            <a:pPr marL="0" lvl="0" indent="0">
              <a:buNone/>
            </a:pPr>
            <a:r>
              <a:rPr lang="en-IN" b="1"/>
              <a:t>Matching demand curve</a:t>
            </a:r>
          </a:p>
          <a:p>
            <a:r>
              <a:rPr lang="en-IN">
                <a:solidFill>
                  <a:srgbClr val="BA0C2F"/>
                </a:solidFill>
              </a:rPr>
              <a:t>Challenge</a:t>
            </a:r>
            <a:r>
              <a:rPr lang="en-IN"/>
              <a:t>: Changing demand patterns and trend toward higher evening peaks.</a:t>
            </a:r>
          </a:p>
          <a:p>
            <a:r>
              <a:rPr lang="en-IN">
                <a:solidFill>
                  <a:srgbClr val="00B050"/>
                </a:solidFill>
              </a:rPr>
              <a:t>Opportunity</a:t>
            </a:r>
            <a:r>
              <a:rPr lang="en-IN"/>
              <a:t>: Dispatchable RE (hybrids, storage) during peak time through higher tariffs/supply blocks following load patterns.</a:t>
            </a:r>
          </a:p>
          <a:p>
            <a:pPr marL="0" lvl="0" indent="0">
              <a:buNone/>
            </a:pPr>
            <a:r>
              <a:rPr lang="en-IN" b="1"/>
              <a:t>Mitigating grid integration/transmission costs </a:t>
            </a:r>
          </a:p>
          <a:p>
            <a:r>
              <a:rPr lang="en-IN">
                <a:solidFill>
                  <a:srgbClr val="BA0C2F"/>
                </a:solidFill>
              </a:rPr>
              <a:t>Challenge</a:t>
            </a:r>
            <a:r>
              <a:rPr lang="en-IN"/>
              <a:t>: Grid constraints at the transmission level leading to congestion and curtailment or higher grid connection costs.</a:t>
            </a:r>
          </a:p>
          <a:p>
            <a:r>
              <a:rPr lang="en-IN">
                <a:solidFill>
                  <a:srgbClr val="00B050"/>
                </a:solidFill>
              </a:rPr>
              <a:t>Opportunity</a:t>
            </a:r>
            <a:r>
              <a:rPr lang="en-IN"/>
              <a:t>: Requirement for minimum capacity utilization factors (CUF), consideration of grid connection costs in bids</a:t>
            </a:r>
          </a:p>
          <a:p>
            <a:pPr marL="0" lvl="0" indent="0">
              <a:buNone/>
            </a:pPr>
            <a:r>
              <a:rPr lang="en-IN" b="1"/>
              <a:t>Reducing intermittency </a:t>
            </a:r>
          </a:p>
          <a:p>
            <a:r>
              <a:rPr lang="en-IN">
                <a:solidFill>
                  <a:schemeClr val="accent2"/>
                </a:solidFill>
              </a:rPr>
              <a:t>Challenge</a:t>
            </a:r>
            <a:r>
              <a:rPr lang="en-IN"/>
              <a:t>: Balancing of real-time generation shortages and surpluses.</a:t>
            </a:r>
          </a:p>
          <a:p>
            <a:r>
              <a:rPr lang="en-IN">
                <a:solidFill>
                  <a:srgbClr val="00B050"/>
                </a:solidFill>
              </a:rPr>
              <a:t>Opportunity</a:t>
            </a:r>
            <a:r>
              <a:rPr lang="en-IN"/>
              <a:t>: Procurement of more firm RE power, e.g. </a:t>
            </a:r>
            <a:r>
              <a:rPr lang="en-US"/>
              <a:t>virtual or physical hybrids with higher CUFs (solar-wind + </a:t>
            </a:r>
            <a:r>
              <a:rPr lang="en-IN"/>
              <a:t>storage).</a:t>
            </a:r>
            <a:endParaRPr lang="en-US"/>
          </a:p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3406B7F-489E-4416-8ADA-31FE9EC93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04" y="313590"/>
            <a:ext cx="7772400" cy="830997"/>
          </a:xfrm>
        </p:spPr>
        <p:txBody>
          <a:bodyPr/>
          <a:lstStyle/>
          <a:p>
            <a:r>
              <a:rPr lang="en-US" dirty="0"/>
              <a:t>System-friendly RE procurement is an opportunity to increase the uptake of 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7884CD-562A-48FC-9BFF-CA1B68542B3E}"/>
              </a:ext>
            </a:extLst>
          </p:cNvPr>
          <p:cNvSpPr txBox="1"/>
          <p:nvPr/>
        </p:nvSpPr>
        <p:spPr>
          <a:xfrm>
            <a:off x="6513575" y="897622"/>
            <a:ext cx="2292097" cy="584775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600" b="1" i="1" dirty="0">
                <a:solidFill>
                  <a:schemeClr val="bg1"/>
                </a:solidFill>
              </a:rPr>
              <a:t>Based on situation &amp; discussions in India</a:t>
            </a:r>
            <a:endParaRPr lang="en-US" sz="1600" b="1" i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6CB6109-8856-42C1-BC68-E9A2CA12E93C}"/>
              </a:ext>
            </a:extLst>
          </p:cNvPr>
          <p:cNvSpPr txBox="1"/>
          <p:nvPr/>
        </p:nvSpPr>
        <p:spPr>
          <a:xfrm>
            <a:off x="6857999" y="162840"/>
            <a:ext cx="2133600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Relevance of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820224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492192-9FF0-4C3D-A4F5-73C753DB3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3287C-975E-43BA-AA70-9660FD7DB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22" name="Table 22">
            <a:extLst>
              <a:ext uri="{FF2B5EF4-FFF2-40B4-BE49-F238E27FC236}">
                <a16:creationId xmlns:a16="http://schemas.microsoft.com/office/drawing/2014/main" id="{10DF659C-2DA9-41A5-931D-0B65374FA48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579326"/>
              </p:ext>
            </p:extLst>
          </p:nvPr>
        </p:nvGraphicFramePr>
        <p:xfrm>
          <a:off x="685800" y="1296988"/>
          <a:ext cx="7772398" cy="32969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910166">
                  <a:extLst>
                    <a:ext uri="{9D8B030D-6E8A-4147-A177-3AD203B41FA5}">
                      <a16:colId xmlns:a16="http://schemas.microsoft.com/office/drawing/2014/main" val="375448766"/>
                    </a:ext>
                  </a:extLst>
                </a:gridCol>
                <a:gridCol w="5862232">
                  <a:extLst>
                    <a:ext uri="{9D8B030D-6E8A-4147-A177-3AD203B41FA5}">
                      <a16:colId xmlns:a16="http://schemas.microsoft.com/office/drawing/2014/main" val="14439257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TREND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EFINITION</a:t>
                      </a:r>
                    </a:p>
                  </a:txBody>
                  <a:tcPr anchor="ctr">
                    <a:lnR w="9525" cap="flat" cmpd="sng" algn="ctr">
                      <a:noFill/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58235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1. Time-based incentives and penaltie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sign options that incentivize RE generation to more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osely match the demand curve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e.g. price adjustment factors, supply blocks). </a:t>
                      </a:r>
                    </a:p>
                  </a:txBody>
                  <a:tcPr>
                    <a:lnR w="9525" cap="flat" cmpd="sng" algn="ctr">
                      <a:noFill/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358774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2. Aggregators </a:t>
                      </a:r>
                      <a:br>
                        <a:rPr lang="en-US" sz="1400" dirty="0">
                          <a:solidFill>
                            <a:schemeClr val="accent3"/>
                          </a:solidFill>
                        </a:rPr>
                      </a:b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(virtual hybrids)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veral RE installations at different grid connection points are bundled and dispatched via virtual control systems. Virtual hybrids can thus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eed in exactly as much electricity as has been purchased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>
                    <a:lnR w="9525" cap="flat" cmpd="sng" algn="ctr">
                      <a:noFill/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150362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3. Procurement of (physical) hybrid solution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etitive procurement of RE electricity from installations combining technologies such as wind, solar, storage or dispatchable technologies with the aim of combining complementary generation profiles to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fset technology-specific intermittencies and to reduce grid connection costs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>
                    <a:lnR w="9525" cap="flat" cmpd="sng" algn="ctr">
                      <a:noFill/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1537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accent3"/>
                          </a:solidFill>
                        </a:rPr>
                        <a:t>4. Locational signal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cational signals aim to steer the location of projects to specific areas/grid connection points to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void the concentration of projects in resource-rich but costly-to-connect areas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>
                    <a:lnR w="9525" cap="flat" cmpd="sng" algn="ctr">
                      <a:noFill/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28989594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4F623EFB-10A9-4FA8-8CD9-6E9E33C0B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 global trends in RE system-friendly procure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E45DA4-8FCD-43A6-B4C7-645FD0BEE241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2417485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FCEDA3-D19D-417E-8B1B-2583282A97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563F10-A927-4DB3-AAFD-7E51C5E47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43" name="Picture 42" descr="This figure depicts how time-based incentives and penalties can be tailored in auction implementation to more closely match the demand curve">
            <a:extLst>
              <a:ext uri="{FF2B5EF4-FFF2-40B4-BE49-F238E27FC236}">
                <a16:creationId xmlns:a16="http://schemas.microsoft.com/office/drawing/2014/main" id="{56ADE975-8173-47D8-9A6D-7F99DDD949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2189" y="1931963"/>
            <a:ext cx="6199622" cy="2912676"/>
          </a:xfrm>
          <a:prstGeom prst="rect">
            <a:avLst/>
          </a:prstGeom>
        </p:spPr>
      </p:pic>
      <p:sp>
        <p:nvSpPr>
          <p:cNvPr id="11" name="Content Placeholder 1" descr="This figure illustrates time-based incentives and penalties">
            <a:extLst>
              <a:ext uri="{FF2B5EF4-FFF2-40B4-BE49-F238E27FC236}">
                <a16:creationId xmlns:a16="http://schemas.microsoft.com/office/drawing/2014/main" id="{09139972-AACD-4BF4-BA5F-4996DE56FB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99535"/>
            <a:ext cx="7772400" cy="710044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635C5B"/>
                </a:solidFill>
              </a:rPr>
              <a:t>Design options that incentivize RE generation to more </a:t>
            </a:r>
            <a:r>
              <a:rPr lang="en-US" b="1" dirty="0">
                <a:solidFill>
                  <a:schemeClr val="accent3"/>
                </a:solidFill>
              </a:rPr>
              <a:t>closely match the demand curve </a:t>
            </a:r>
            <a:r>
              <a:rPr lang="en-US" dirty="0">
                <a:solidFill>
                  <a:srgbClr val="635C5B"/>
                </a:solidFill>
              </a:rPr>
              <a:t>(e.g. price adjustment factors, supply blocks)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68D1CE-1F18-4973-BEC0-8A98D8381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1: Time-based incentives &amp; penalties (1/3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73DEE3-363A-4F7C-A7D3-5E82112C7FF5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618128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FB6F64-86D4-4380-ADAA-FD263B4DEE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C5E965-7251-408D-AFF8-BA65542E6D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20D3961-0144-490A-BA88-A4D1D8BF0A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66946"/>
              </p:ext>
            </p:extLst>
          </p:nvPr>
        </p:nvGraphicFramePr>
        <p:xfrm>
          <a:off x="686104" y="2078080"/>
          <a:ext cx="8019745" cy="28248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463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7095115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460804">
                <a:tc>
                  <a:txBody>
                    <a:bodyPr/>
                    <a:lstStyle/>
                    <a:p>
                      <a:r>
                        <a:rPr lang="en-IN" sz="1400" b="0" noProof="0" dirty="0">
                          <a:solidFill>
                            <a:schemeClr val="bg1"/>
                          </a:solidFill>
                        </a:rPr>
                        <a:t>Challeng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Allowing intermittent technologies to optimize their feed-in potential and guarantee supply to distribution companies.</a:t>
                      </a: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840290">
                <a:tc>
                  <a:txBody>
                    <a:bodyPr/>
                    <a:lstStyle/>
                    <a:p>
                      <a:r>
                        <a:rPr lang="en-IN" sz="1400" b="0" noProof="0" dirty="0">
                          <a:solidFill>
                            <a:schemeClr val="bg1"/>
                          </a:solidFill>
                        </a:rPr>
                        <a:t>Design Solu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Supply blocks: Intra-day hourly (12am-8am + 11pm-12am; 8am-6pm; 6pm-11pm) + four 3-month blocks 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Supply block translates generation risk to RE producer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 </a:t>
                      </a:r>
                      <a:br>
                        <a:rPr lang="en-US" sz="1500" b="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</a:br>
                      <a:r>
                        <a:rPr lang="en-US" sz="1500" b="0" noProof="0" dirty="0">
                          <a:solidFill>
                            <a:srgbClr val="635C5B"/>
                          </a:solidFill>
                          <a:sym typeface="Wingdings" panose="05000000000000000000" pitchFamily="2" charset="2"/>
                        </a:rPr>
                        <a:t> </a:t>
                      </a:r>
                      <a:r>
                        <a:rPr lang="en-US" sz="1500" b="0" noProof="0" dirty="0">
                          <a:solidFill>
                            <a:srgbClr val="635C5B"/>
                          </a:solidFill>
                        </a:rPr>
                        <a:t>Production deviation are settled at spot-market prices. </a:t>
                      </a: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  <a:tr h="1270406">
                <a:tc>
                  <a:txBody>
                    <a:bodyPr/>
                    <a:lstStyle/>
                    <a:p>
                      <a:r>
                        <a:rPr lang="en-IN" sz="1400" b="0" noProof="0" dirty="0">
                          <a:solidFill>
                            <a:schemeClr val="bg1"/>
                          </a:solidFill>
                        </a:rPr>
                        <a:t>Resul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4000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Pts val="1800"/>
                        <a:buFont typeface="Arial" panose="020B0604020202020204" pitchFamily="34" charset="0"/>
                        <a:buChar char="•"/>
                      </a:pPr>
                      <a:r>
                        <a:rPr lang="en-US" sz="1500" b="0" noProof="0" dirty="0">
                          <a:solidFill>
                            <a:srgbClr val="635C5B"/>
                          </a:solidFill>
                          <a:latin typeface="Gill Sans MT" panose="020B0502020104020203" pitchFamily="34" charset="0"/>
                        </a:rPr>
                        <a:t>In the technology-neutral auctions 2017, only RE projects won (2,200 GWh of electricity awarded).</a:t>
                      </a:r>
                      <a:endParaRPr lang="en-US" sz="1500" dirty="0">
                        <a:solidFill>
                          <a:schemeClr val="accent3"/>
                        </a:solidFill>
                        <a:latin typeface="Gill Sans MT" panose="020B0502020104020203" pitchFamily="34" charset="0"/>
                      </a:endParaRPr>
                    </a:p>
                    <a:p>
                      <a:pPr marL="4000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Pts val="1800"/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Auction average price was </a:t>
                      </a:r>
                      <a:r>
                        <a:rPr lang="en-US" sz="1500" b="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3.25 cents/kWh  </a:t>
                      </a:r>
                      <a:r>
                        <a:rPr lang="en-US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- lowest ever recorded in country. Lowest bids: 3.29 cents/kWh, for wind and </a:t>
                      </a:r>
                      <a:r>
                        <a:rPr lang="en-US" sz="1500" b="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2.15 cents/kWh </a:t>
                      </a:r>
                      <a:r>
                        <a:rPr lang="en-US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 for solar</a:t>
                      </a:r>
                    </a:p>
                    <a:p>
                      <a:pPr marL="40005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3"/>
                        </a:buClr>
                        <a:buSzPts val="1800"/>
                        <a:buFont typeface="Arial" panose="020B0604020202020204" pitchFamily="34" charset="0"/>
                        <a:buChar char="•"/>
                      </a:pPr>
                      <a:r>
                        <a:rPr lang="de-DE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N</a:t>
                      </a:r>
                      <a:r>
                        <a:rPr lang="en-US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on-RE </a:t>
                      </a:r>
                      <a:r>
                        <a:rPr lang="en-US" sz="1500" kern="12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alternatives</a:t>
                      </a:r>
                      <a:r>
                        <a:rPr lang="en-US" sz="1500" dirty="0">
                          <a:solidFill>
                            <a:schemeClr val="accent3"/>
                          </a:solidFill>
                          <a:latin typeface="Gill Sans MT" panose="020B0502020104020203" pitchFamily="34" charset="0"/>
                        </a:rPr>
                        <a:t> more expensive:  Thermal price 7.54 cents/kWh </a:t>
                      </a:r>
                      <a:endParaRPr lang="en-IN" sz="1500" kern="1200" noProof="0" dirty="0">
                        <a:solidFill>
                          <a:schemeClr val="accent3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542588"/>
                  </a:ext>
                </a:extLst>
              </a:tr>
            </a:tbl>
          </a:graphicData>
        </a:graphic>
      </p:graphicFrame>
      <p:pic>
        <p:nvPicPr>
          <p:cNvPr id="13" name="Picture 4">
            <a:extLst>
              <a:ext uri="{FF2B5EF4-FFF2-40B4-BE49-F238E27FC236}">
                <a16:creationId xmlns:a16="http://schemas.microsoft.com/office/drawing/2014/main" id="{5F0AC984-123D-43B7-814F-169A211F2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813" y="1144587"/>
            <a:ext cx="848323" cy="564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0A351270-3144-4E84-A89F-0DB2DFA43C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4001" y="1139097"/>
            <a:ext cx="6781800" cy="811162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b="1" dirty="0"/>
              <a:t>Country experience: </a:t>
            </a:r>
            <a:r>
              <a:rPr lang="en-US" dirty="0"/>
              <a:t>Intraday and seasonal supply blocks in Chile</a:t>
            </a:r>
          </a:p>
          <a:p>
            <a:pPr marL="0" lvl="0" indent="0">
              <a:spcAft>
                <a:spcPts val="0"/>
              </a:spcAft>
              <a:buNone/>
              <a:defRPr/>
            </a:pPr>
            <a:r>
              <a:rPr lang="en-US" sz="1500" b="1" dirty="0">
                <a:solidFill>
                  <a:srgbClr val="C00000"/>
                </a:solidFill>
                <a:cs typeface="+mn-cs"/>
              </a:rPr>
              <a:t>This policy with time blocks enabled Chile to save on both its daytime and nighttime supply – and both times RE &amp; storage were cheaper than thermal power.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18A49E6-2A15-43BB-B4C1-2EB9C36CC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1: Time-based incentives &amp; penalties (2/3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DF45FE-6869-4E78-B51F-9BFE3C2B4021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926568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C16E3-A826-406C-B29E-EB5232C9470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A36F3-443C-4FF3-A6F3-3CC880CA59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0717BE8-34EA-4749-A438-E6F0439E68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186697"/>
              </p:ext>
            </p:extLst>
          </p:nvPr>
        </p:nvGraphicFramePr>
        <p:xfrm>
          <a:off x="757918" y="1248455"/>
          <a:ext cx="7772400" cy="3611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74477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3897923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300547"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Advantag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500" b="0" i="0" kern="1200" noProof="0" dirty="0">
                          <a:solidFill>
                            <a:schemeClr val="bg1"/>
                          </a:solidFill>
                          <a:latin typeface="Gill Sans MT"/>
                          <a:ea typeface="+mn-ea"/>
                          <a:cs typeface="+mn-cs"/>
                        </a:rPr>
                        <a:t>Disadvantag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250893"/>
                  </a:ext>
                </a:extLst>
              </a:tr>
              <a:tr h="20344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Time-based incentives help matching RE generation with the demand curve, thus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avoiding an inefficient &amp; costly capacity addition pathway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for utilities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Price adjustment factors offer financial compensation to RE producers for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ptimizing a supply that meets the demand profile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Supply blocks limit supply timeframe to time/season-specific demand, increasing </a:t>
                      </a: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producer long-term revenue certainty </a:t>
                      </a:r>
                      <a:r>
                        <a:rPr lang="en-US" sz="1500" b="0" kern="1200" noProof="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and encouraging intermittent RE generation to </a:t>
                      </a:r>
                      <a:r>
                        <a:rPr lang="en-US" sz="1500" b="1" kern="120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provide reliable electricity. </a:t>
                      </a:r>
                      <a:endParaRPr lang="en-IN" sz="1500" b="1" kern="1200" noProof="0" dirty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Compared to the wholesale market, (fixed) time-based incentives increase </a:t>
                      </a: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the risk of overcompensating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RE electricity that will be less valuable in a few year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kern="120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1" kern="120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Adapting supply blocks and volume </a:t>
                      </a:r>
                      <a:r>
                        <a:rPr lang="en-US" sz="1500" b="0" kern="1200" dirty="0">
                          <a:solidFill>
                            <a:srgbClr val="635C5B"/>
                          </a:solidFill>
                          <a:latin typeface="+mn-lt"/>
                          <a:ea typeface="+mn-ea"/>
                          <a:cs typeface="+mn-cs"/>
                        </a:rPr>
                        <a:t>regularly could mitigate the risk of future mismatch between generation and demand profiles. </a:t>
                      </a:r>
                      <a:endParaRPr lang="en-US" sz="1500" b="0" kern="1200" noProof="0" dirty="0">
                        <a:solidFill>
                          <a:srgbClr val="635C5B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noProof="0" dirty="0">
                        <a:solidFill>
                          <a:schemeClr val="accent6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500" b="0" noProof="0" dirty="0">
                        <a:solidFill>
                          <a:srgbClr val="635C5B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IN" sz="1500" b="0" noProof="0" dirty="0">
                        <a:solidFill>
                          <a:srgbClr val="635C5B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760AE53-8696-4755-A79A-2629AB9CC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1: Time-based incentives &amp; penalties (3/3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7F1832-A033-400F-B9A4-CF61B20224FE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3671228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2D882D-EED3-4EB9-9DB6-6AD7A831DB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4FB1AD-D69E-B741-965A-0BAE826C2FA6}" type="datetime1">
              <a:rPr lang="en-US" smtClean="0"/>
              <a:pPr/>
              <a:t>7/2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683F3A-B734-4EBD-93BE-9A1A6ED42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12" name="Picture 11" descr="This figure depicts a virtual hybrid auction design.">
            <a:extLst>
              <a:ext uri="{FF2B5EF4-FFF2-40B4-BE49-F238E27FC236}">
                <a16:creationId xmlns:a16="http://schemas.microsoft.com/office/drawing/2014/main" id="{B8F98A40-EB22-44AF-875E-8E16C4F875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212" y="1972154"/>
            <a:ext cx="7267575" cy="2917824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E9AA07A-1158-482B-8A43-95055BA30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296987"/>
            <a:ext cx="7772400" cy="675167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sz="1400" dirty="0">
                <a:solidFill>
                  <a:srgbClr val="635C5B"/>
                </a:solidFill>
                <a:cs typeface="+mn-cs"/>
              </a:rPr>
              <a:t>Several RE installations at different grid connection points are bundled and dispatched via virtual control systems. Virtual hybrids can thus </a:t>
            </a:r>
            <a:r>
              <a:rPr lang="en-US" sz="1400" b="1" dirty="0">
                <a:solidFill>
                  <a:schemeClr val="accent3"/>
                </a:solidFill>
                <a:cs typeface="+mn-cs"/>
              </a:rPr>
              <a:t>feed in exactly as much electricity as has been purchased</a:t>
            </a:r>
            <a:r>
              <a:rPr lang="en-US" sz="1400" dirty="0">
                <a:solidFill>
                  <a:srgbClr val="635C5B"/>
                </a:solidFill>
                <a:cs typeface="+mn-cs"/>
              </a:rPr>
              <a:t>.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B3CE072-3485-4D66-8F9B-96C6D94E0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lobal trend 2:  Aggregators (virtual hybrids) (1/3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8FD879F-CFEE-42DC-BBF7-65BD8C49C610}"/>
              </a:ext>
            </a:extLst>
          </p:cNvPr>
          <p:cNvSpPr txBox="1"/>
          <p:nvPr/>
        </p:nvSpPr>
        <p:spPr>
          <a:xfrm>
            <a:off x="6761220" y="162840"/>
            <a:ext cx="2230379" cy="21544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Global trends in RE system-friendly procurement</a:t>
            </a:r>
          </a:p>
        </p:txBody>
      </p:sp>
    </p:spTree>
    <p:extLst>
      <p:ext uri="{BB962C8B-B14F-4D97-AF65-F5344CB8AC3E}">
        <p14:creationId xmlns:p14="http://schemas.microsoft.com/office/powerpoint/2010/main" val="854795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nNHbeH3LoZ27bIOeaG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.9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ED43418300424CA7B146638E3B7A8F" ma:contentTypeVersion="13" ma:contentTypeDescription="Create a new document." ma:contentTypeScope="" ma:versionID="2fe62fcb9174efa6973dc26662234bb1">
  <xsd:schema xmlns:xsd="http://www.w3.org/2001/XMLSchema" xmlns:xs="http://www.w3.org/2001/XMLSchema" xmlns:p="http://schemas.microsoft.com/office/2006/metadata/properties" xmlns:ns3="d4ece201-1ec3-4266-a8e0-0b4e6e67a276" xmlns:ns4="11f94206-449f-4a4d-a484-d79428c0a2f7" targetNamespace="http://schemas.microsoft.com/office/2006/metadata/properties" ma:root="true" ma:fieldsID="c7313ff21738f702f94f4f46105f6d3d" ns3:_="" ns4:_="">
    <xsd:import namespace="d4ece201-1ec3-4266-a8e0-0b4e6e67a276"/>
    <xsd:import namespace="11f94206-449f-4a4d-a484-d79428c0a2f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3:SharedWithDetails" minOccurs="0"/>
                <xsd:element ref="ns3:SharingHintHash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ece201-1ec3-4266-a8e0-0b4e6e67a27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f94206-449f-4a4d-a484-d79428c0a2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2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9A874B-37C0-4B98-8ABB-7DB7ABF4BA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ece201-1ec3-4266-a8e0-0b4e6e67a276"/>
    <ds:schemaRef ds:uri="11f94206-449f-4a4d-a484-d79428c0a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3D4AFC-454A-47A9-A1B5-4BBB89F9FC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14013B-1707-4611-BA07-98D0B76DDEFF}">
  <ds:schemaRefs>
    <ds:schemaRef ds:uri="11f94206-449f-4a4d-a484-d79428c0a2f7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d4ece201-1ec3-4266-a8e0-0b4e6e67a27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.9-Template_4.29.2016</Template>
  <TotalTime>1381</TotalTime>
  <Words>1833</Words>
  <Application>Microsoft Office PowerPoint</Application>
  <PresentationFormat>Custom</PresentationFormat>
  <Paragraphs>220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Gill Sans MT</vt:lpstr>
      <vt:lpstr>16.9-Template_4.29.2016</vt:lpstr>
      <vt:lpstr>think-cell Slide</vt:lpstr>
      <vt:lpstr>Advanced Auction Design Elements</vt:lpstr>
      <vt:lpstr>Agenda</vt:lpstr>
      <vt:lpstr>System-friendly RE procurement minimizes both generation and system integration costs</vt:lpstr>
      <vt:lpstr>System-friendly RE procurement is an opportunity to increase the uptake of RE</vt:lpstr>
      <vt:lpstr>4 global trends in RE system-friendly procurement</vt:lpstr>
      <vt:lpstr>Global trend 1: Time-based incentives &amp; penalties (1/3)</vt:lpstr>
      <vt:lpstr>Global trend 1: Time-based incentives &amp; penalties (2/3)</vt:lpstr>
      <vt:lpstr>Global trend 1: Time-based incentives &amp; penalties (3/3)</vt:lpstr>
      <vt:lpstr>Global trend 2:  Aggregators (virtual hybrids) (1/3)</vt:lpstr>
      <vt:lpstr>Global trend 2:  Aggregators (virtual hybrids) (2/3)</vt:lpstr>
      <vt:lpstr>Global trend 2:  Aggregators (virtual hybrids) (3/3)</vt:lpstr>
      <vt:lpstr>Global trend 3: Procurement of (physical) hybrids (1/3)</vt:lpstr>
      <vt:lpstr>Global trend 3: Procurement of (physical) hybrids (2/3)</vt:lpstr>
      <vt:lpstr>Global trend 3: Procurement of (physical) hybrids (3/3)</vt:lpstr>
      <vt:lpstr>Global trend 4: Locational signals (1/5)</vt:lpstr>
      <vt:lpstr>Global trend 4: Locational signals (2/5)</vt:lpstr>
      <vt:lpstr>Global trend 4: Locational signals (3/5)</vt:lpstr>
      <vt:lpstr>Global trend 4: Locational signals (4/5)</vt:lpstr>
      <vt:lpstr>Global trend 4: Locational signals (5/5)</vt:lpstr>
      <vt:lpstr>Thank you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ed Auction Design Elements</dc:title>
  <dc:subject>This training discussion various advanced auction design elements to maximize the benefit of implementing renewable energy auctions.</dc:subject>
  <dc:creator>Navigant--A Guidehouse Company</dc:creator>
  <cp:keywords>Procurement, incentives, penalties, renewable energy, auctions, aggregators, virtual hybrids, locational signals</cp:keywords>
  <cp:lastModifiedBy>Bradley, Bridget</cp:lastModifiedBy>
  <cp:revision>115</cp:revision>
  <dcterms:created xsi:type="dcterms:W3CDTF">2016-05-03T19:58:32Z</dcterms:created>
  <dcterms:modified xsi:type="dcterms:W3CDTF">2020-07-02T18:4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ED43418300424CA7B146638E3B7A8F</vt:lpwstr>
  </property>
</Properties>
</file>